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9" r:id="rId5"/>
  </p:sldMasterIdLst>
  <p:notesMasterIdLst>
    <p:notesMasterId r:id="rId26"/>
  </p:notesMasterIdLst>
  <p:handoutMasterIdLst>
    <p:handoutMasterId r:id="rId27"/>
  </p:handoutMasterIdLst>
  <p:sldIdLst>
    <p:sldId id="286" r:id="rId6"/>
    <p:sldId id="300" r:id="rId7"/>
    <p:sldId id="317" r:id="rId8"/>
    <p:sldId id="387" r:id="rId9"/>
    <p:sldId id="389" r:id="rId10"/>
    <p:sldId id="392" r:id="rId11"/>
    <p:sldId id="393" r:id="rId12"/>
    <p:sldId id="394" r:id="rId13"/>
    <p:sldId id="395" r:id="rId14"/>
    <p:sldId id="396" r:id="rId15"/>
    <p:sldId id="398" r:id="rId16"/>
    <p:sldId id="397" r:id="rId17"/>
    <p:sldId id="399" r:id="rId18"/>
    <p:sldId id="400" r:id="rId19"/>
    <p:sldId id="401" r:id="rId20"/>
    <p:sldId id="402" r:id="rId21"/>
    <p:sldId id="405" r:id="rId22"/>
    <p:sldId id="388" r:id="rId23"/>
    <p:sldId id="404" r:id="rId24"/>
    <p:sldId id="406" r:id="rId25"/>
  </p:sldIdLst>
  <p:sldSz cx="9144000" cy="5143500" type="screen16x9"/>
  <p:notesSz cx="6797675" cy="9926638"/>
  <p:embeddedFontLst>
    <p:embeddedFont>
      <p:font typeface="MS PGothic" panose="020B0600070205080204" pitchFamily="34" charset="-128"/>
      <p:regular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sclaimer" id="{06C87856-8BDA-41CB-8E84-63F1CD0EA557}">
          <p14:sldIdLst/>
        </p14:section>
        <p14:section name="Presentation" id="{13166928-F41E-4381-B0E9-50844DDFA234}">
          <p14:sldIdLst>
            <p14:sldId id="286"/>
            <p14:sldId id="300"/>
            <p14:sldId id="317"/>
            <p14:sldId id="387"/>
            <p14:sldId id="389"/>
            <p14:sldId id="392"/>
            <p14:sldId id="393"/>
            <p14:sldId id="394"/>
            <p14:sldId id="395"/>
            <p14:sldId id="396"/>
            <p14:sldId id="398"/>
            <p14:sldId id="397"/>
            <p14:sldId id="399"/>
            <p14:sldId id="400"/>
            <p14:sldId id="401"/>
            <p14:sldId id="402"/>
            <p14:sldId id="405"/>
            <p14:sldId id="388"/>
            <p14:sldId id="404"/>
            <p14:sldId id="406"/>
          </p14:sldIdLst>
        </p14:section>
        <p14:section name="Backup" id="{3B089284-3C7B-4F2B-8972-801AC251D68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776">
          <p15:clr>
            <a:srgbClr val="A4A3A4"/>
          </p15:clr>
        </p15:guide>
        <p15:guide id="3" orient="horz" pos="190">
          <p15:clr>
            <a:srgbClr val="A4A3A4"/>
          </p15:clr>
        </p15:guide>
        <p15:guide id="4" orient="horz" pos="512">
          <p15:clr>
            <a:srgbClr val="A4A3A4"/>
          </p15:clr>
        </p15:guide>
        <p15:guide id="5" orient="horz" pos="1390">
          <p15:clr>
            <a:srgbClr val="A4A3A4"/>
          </p15:clr>
        </p15:guide>
        <p15:guide id="6" pos="2928">
          <p15:clr>
            <a:srgbClr val="A4A3A4"/>
          </p15:clr>
        </p15:guide>
        <p15:guide id="7" pos="1068">
          <p15:clr>
            <a:srgbClr val="A4A3A4"/>
          </p15:clr>
        </p15:guide>
        <p15:guide id="8" pos="2880">
          <p15:clr>
            <a:srgbClr val="A4A3A4"/>
          </p15:clr>
        </p15:guide>
        <p15:guide id="9" pos="288">
          <p15:clr>
            <a:srgbClr val="A4A3A4"/>
          </p15:clr>
        </p15:guide>
        <p15:guide id="10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E59"/>
    <a:srgbClr val="6D9C04"/>
    <a:srgbClr val="3594E8"/>
    <a:srgbClr val="008AC9"/>
    <a:srgbClr val="2649FF"/>
    <a:srgbClr val="1187A0"/>
    <a:srgbClr val="0E72A7"/>
    <a:srgbClr val="1083CF"/>
    <a:srgbClr val="192C6C"/>
    <a:srgbClr val="11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20" autoAdjust="0"/>
    <p:restoredTop sz="95750" autoAdjust="0"/>
  </p:normalViewPr>
  <p:slideViewPr>
    <p:cSldViewPr snapToGrid="0" snapToObjects="1">
      <p:cViewPr varScale="1">
        <p:scale>
          <a:sx n="112" d="100"/>
          <a:sy n="112" d="100"/>
        </p:scale>
        <p:origin x="270" y="96"/>
      </p:cViewPr>
      <p:guideLst>
        <p:guide orient="horz" pos="1620"/>
        <p:guide orient="horz" pos="776"/>
        <p:guide orient="horz" pos="190"/>
        <p:guide orient="horz" pos="512"/>
        <p:guide orient="horz" pos="1390"/>
        <p:guide pos="2928"/>
        <p:guide pos="1068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5.fnt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7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7.09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9424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675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066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72811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8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4650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5189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16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2947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8114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5994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136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9382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6066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07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04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14.12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8"/>
          <p:cNvSpPr txBox="1">
            <a:spLocks noChangeArrowheads="1"/>
          </p:cNvSpPr>
          <p:nvPr userDrawn="1"/>
        </p:nvSpPr>
        <p:spPr bwMode="auto">
          <a:xfrm>
            <a:off x="1278924" y="4945551"/>
            <a:ext cx="6172200" cy="769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500" kern="1200" dirty="0" smtClean="0">
                <a:solidFill>
                  <a:srgbClr val="000000"/>
                </a:solidFill>
                <a:latin typeface="Arial" charset="0"/>
                <a:ea typeface="+mn-ea"/>
                <a:cs typeface="+mn-cs"/>
              </a:rPr>
              <a:t>© GFT Technologies SE 2015 | All rights reserved.</a:t>
            </a:r>
            <a:endParaRPr lang="de-DE" sz="500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PT</a:t>
            </a:r>
            <a:r>
              <a:rPr lang="pl-PL" dirty="0" smtClean="0"/>
              <a:t>A</a:t>
            </a:r>
            <a:r>
              <a:rPr lang="en-GB" dirty="0" smtClean="0"/>
              <a:t>Q </a:t>
            </a:r>
            <a:r>
              <a:rPr lang="en-GB" dirty="0"/>
              <a:t>XXXIII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7459153" cy="120545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</a:t>
            </a:r>
            <a:br>
              <a:rPr lang="pl-PL" dirty="0" smtClean="0"/>
            </a:br>
            <a:r>
              <a:rPr lang="pl-PL" dirty="0" smtClean="0"/>
              <a:t>w praktyc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pl-PL" dirty="0" smtClean="0"/>
              <a:t>Adrian Bala</a:t>
            </a:r>
          </a:p>
          <a:p>
            <a:r>
              <a:rPr lang="pl-PL" dirty="0" smtClean="0"/>
              <a:t>08.</a:t>
            </a:r>
            <a:r>
              <a:rPr lang="pl-PL" dirty="0" smtClean="0"/>
              <a:t>09.2016</a:t>
            </a:r>
            <a:endParaRPr lang="de-DE" dirty="0"/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82890" cy="1354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Demo </a:t>
            </a:r>
            <a:r>
              <a:rPr lang="pl-PL" dirty="0" smtClean="0"/>
              <a:t>2 </a:t>
            </a:r>
            <a:r>
              <a:rPr lang="pl-PL" dirty="0"/>
              <a:t>– </a:t>
            </a:r>
            <a:r>
              <a:rPr lang="pl-PL" dirty="0" smtClean="0"/>
              <a:t>RESTful API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7. REST (według Roy’a Thomasa Fieldinga)</a:t>
            </a:r>
            <a:endParaRPr lang="en-GB" sz="1200" dirty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03" y="817052"/>
            <a:ext cx="5041868" cy="343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75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emo 3 – </a:t>
            </a:r>
            <a:r>
              <a:rPr lang="pl-PL" dirty="0" smtClean="0"/>
              <a:t>DBM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XXXIII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08400" y="1986280"/>
            <a:ext cx="2744550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Oracle </a:t>
            </a:r>
            <a:r>
              <a:rPr lang="pl-PL" sz="1200" b="1" dirty="0">
                <a:solidFill>
                  <a:schemeClr val="accent2"/>
                </a:solidFill>
              </a:rPr>
              <a:t>DB</a:t>
            </a:r>
            <a:endParaRPr lang="en-GB" altLang="it-IT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>
                <a:ea typeface="ＭＳ Ｐゴシック" panose="020B0600070205080204" pitchFamily="34" charset="-128"/>
              </a:rPr>
              <a:t>1979, Oracle</a:t>
            </a:r>
            <a:endParaRPr lang="en-GB" altLang="it-IT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DB2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>
                <a:ea typeface="ＭＳ Ｐゴシック" panose="020B0600070205080204" pitchFamily="34" charset="-128"/>
              </a:rPr>
              <a:t>1983, IBM</a:t>
            </a:r>
            <a:endParaRPr lang="en-GB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MS SQL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>
                <a:ea typeface="ＭＳ Ｐゴシック" panose="020B0600070205080204" pitchFamily="34" charset="-128"/>
              </a:rPr>
              <a:t>1989, Microsoft</a:t>
            </a:r>
            <a:endParaRPr lang="en-GB" altLang="it-IT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MySQL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>
                <a:ea typeface="ＭＳ Ｐゴシック" panose="020B0600070205080204" pitchFamily="34" charset="-128"/>
              </a:rPr>
              <a:t>1995, Oracle</a:t>
            </a:r>
            <a:endParaRPr lang="en-GB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spcAft>
                <a:spcPts val="100"/>
              </a:spcAft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SQLite</a:t>
            </a:r>
            <a:r>
              <a:rPr lang="en-GB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 </a:t>
            </a:r>
            <a:r>
              <a:rPr lang="en-GB" sz="1200" b="1" dirty="0">
                <a:ea typeface="ＭＳ Ｐゴシック" panose="020B0600070205080204" pitchFamily="34" charset="-128"/>
              </a:rPr>
              <a:t/>
            </a:r>
            <a:br>
              <a:rPr lang="en-GB" sz="1200" b="1" dirty="0">
                <a:ea typeface="ＭＳ Ｐゴシック" panose="020B0600070205080204" pitchFamily="34" charset="-128"/>
              </a:rPr>
            </a:br>
            <a:r>
              <a:rPr lang="pl-PL" sz="1000" dirty="0">
                <a:ea typeface="ＭＳ Ｐゴシック" panose="020B0600070205080204" pitchFamily="34" charset="-128"/>
              </a:rPr>
              <a:t>2000, Richard </a:t>
            </a:r>
            <a:r>
              <a:rPr lang="pl-PL" sz="1000" dirty="0" smtClean="0">
                <a:ea typeface="ＭＳ Ｐゴシック" panose="020B0600070205080204" pitchFamily="34" charset="-128"/>
              </a:rPr>
              <a:t>Hipp</a:t>
            </a:r>
            <a:endParaRPr lang="pl-PL" altLang="it-IT" sz="1000" dirty="0"/>
          </a:p>
        </p:txBody>
      </p:sp>
      <p:sp>
        <p:nvSpPr>
          <p:cNvPr id="14" name="Rechteck 13"/>
          <p:cNvSpPr/>
          <p:nvPr/>
        </p:nvSpPr>
        <p:spPr>
          <a:xfrm>
            <a:off x="6152400" y="1986915"/>
            <a:ext cx="2736936" cy="27776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SQLite </a:t>
            </a:r>
            <a:r>
              <a:rPr lang="pl-PL" sz="1200" b="1" dirty="0">
                <a:solidFill>
                  <a:schemeClr val="accent2"/>
                </a:solidFill>
              </a:rPr>
              <a:t>– https://www.sqlite.org/</a:t>
            </a:r>
            <a:endParaRPr lang="en-GB" altLang="it-IT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en-US" altLang="it-IT" sz="1000" dirty="0"/>
              <a:t>SQLite </a:t>
            </a:r>
            <a:r>
              <a:rPr lang="pl-PL" altLang="it-IT" sz="1000" dirty="0" smtClean="0"/>
              <a:t>jest </a:t>
            </a:r>
            <a:r>
              <a:rPr lang="pl-PL" altLang="it-IT" sz="1000" dirty="0"/>
              <a:t>biblioteką </a:t>
            </a:r>
            <a:r>
              <a:rPr lang="pl-PL" altLang="it-IT" sz="1000" dirty="0" smtClean="0"/>
              <a:t>oprogramowania</a:t>
            </a:r>
            <a:r>
              <a:rPr lang="pl-PL" altLang="it-IT" sz="1000" dirty="0"/>
              <a:t>, </a:t>
            </a:r>
            <a:r>
              <a:rPr lang="pl-PL" altLang="it-IT" sz="1000" dirty="0" smtClean="0"/>
              <a:t>która </a:t>
            </a:r>
            <a:r>
              <a:rPr lang="pl-PL" altLang="it-IT" sz="1000" dirty="0"/>
              <a:t>implementuje </a:t>
            </a:r>
            <a:r>
              <a:rPr lang="pl-PL" altLang="it-IT" sz="1000" dirty="0" smtClean="0"/>
              <a:t>samowystarczalny, bez serwerowy i bez konfiguracyjny silnik transakcyjnej bazy </a:t>
            </a:r>
            <a:r>
              <a:rPr lang="pl-PL" altLang="it-IT" sz="1000" dirty="0"/>
              <a:t>danych </a:t>
            </a:r>
            <a:r>
              <a:rPr lang="pl-PL" altLang="it-IT" sz="1000" dirty="0" smtClean="0"/>
              <a:t>SQL</a:t>
            </a:r>
            <a:r>
              <a:rPr lang="en-US" altLang="it-IT" sz="1000" dirty="0" smtClean="0"/>
              <a:t>.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MySQL – https://www.mysql.com/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en-US" sz="1000" dirty="0"/>
              <a:t>MySQL </a:t>
            </a:r>
            <a:r>
              <a:rPr lang="pl-PL" sz="1000" dirty="0" smtClean="0"/>
              <a:t>jest najbardziej popularną bazą </a:t>
            </a:r>
            <a:r>
              <a:rPr lang="pl-PL" sz="1000" dirty="0"/>
              <a:t>danych </a:t>
            </a:r>
            <a:r>
              <a:rPr lang="pl-PL" sz="1000" dirty="0" smtClean="0"/>
              <a:t>typu </a:t>
            </a:r>
            <a:r>
              <a:rPr lang="pl-PL" sz="1000" i="1" dirty="0" smtClean="0"/>
              <a:t>open </a:t>
            </a:r>
            <a:r>
              <a:rPr lang="pl-PL" sz="1000" i="1" dirty="0"/>
              <a:t>source</a:t>
            </a:r>
            <a:r>
              <a:rPr lang="pl-PL" sz="1000" dirty="0"/>
              <a:t> na </a:t>
            </a:r>
            <a:r>
              <a:rPr lang="pl-PL" sz="1000" dirty="0" smtClean="0"/>
              <a:t>świecie</a:t>
            </a:r>
            <a:r>
              <a:rPr lang="en-US" sz="1000" dirty="0" smtClean="0"/>
              <a:t>.</a:t>
            </a:r>
            <a:endParaRPr lang="pl-PL" sz="1000" dirty="0" smtClean="0"/>
          </a:p>
          <a:p>
            <a:pPr fontAlgn="base">
              <a:spcAft>
                <a:spcPts val="300"/>
              </a:spcAft>
              <a:defRPr/>
            </a:pPr>
            <a:endParaRPr lang="pl-PL" sz="1000" dirty="0"/>
          </a:p>
          <a:p>
            <a:pPr fontAlgn="base">
              <a:spcAft>
                <a:spcPts val="300"/>
              </a:spcAft>
              <a:defRPr/>
            </a:pPr>
            <a:r>
              <a:rPr lang="en-GB" sz="1200" b="1" dirty="0">
                <a:solidFill>
                  <a:schemeClr val="accent2"/>
                </a:solidFill>
              </a:rPr>
              <a:t>OracleSQL</a:t>
            </a:r>
            <a:r>
              <a:rPr lang="pl-PL" sz="1200" b="1" dirty="0">
                <a:solidFill>
                  <a:schemeClr val="accent2"/>
                </a:solidFill>
              </a:rPr>
              <a:t> </a:t>
            </a:r>
            <a:r>
              <a:rPr lang="pl-PL" sz="1200" b="1" dirty="0" smtClean="0">
                <a:solidFill>
                  <a:schemeClr val="accent2"/>
                </a:solidFill>
              </a:rPr>
              <a:t>– http</a:t>
            </a:r>
            <a:r>
              <a:rPr lang="pl-PL" sz="1200" b="1" dirty="0">
                <a:solidFill>
                  <a:schemeClr val="accent2"/>
                </a:solidFill>
              </a:rPr>
              <a:t>://</a:t>
            </a:r>
            <a:r>
              <a:rPr lang="pl-PL" sz="1200" b="1" dirty="0" smtClean="0">
                <a:solidFill>
                  <a:schemeClr val="accent2"/>
                </a:solidFill>
              </a:rPr>
              <a:t>www.oracle.com/</a:t>
            </a:r>
          </a:p>
          <a:p>
            <a:pPr fontAlgn="base">
              <a:spcAft>
                <a:spcPts val="300"/>
              </a:spcAft>
              <a:defRPr/>
            </a:pPr>
            <a:r>
              <a:rPr lang="pl-PL" sz="1000" dirty="0"/>
              <a:t>Oracle Database </a:t>
            </a:r>
            <a:r>
              <a:rPr lang="pl-PL" sz="1000" dirty="0" smtClean="0"/>
              <a:t>12c to pierwsza </a:t>
            </a:r>
            <a:r>
              <a:rPr lang="pl-PL" sz="1000" dirty="0"/>
              <a:t>na świecie baza danych </a:t>
            </a:r>
            <a:r>
              <a:rPr lang="pl-PL" sz="1000" dirty="0" smtClean="0"/>
              <a:t>zaprojektowana do zastosowań chmurowych.</a:t>
            </a:r>
            <a:endParaRPr lang="en-GB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SQL </a:t>
            </a:r>
            <a:r>
              <a:rPr lang="pl-PL" sz="1200" b="1" dirty="0" smtClean="0">
                <a:solidFill>
                  <a:schemeClr val="accent2"/>
                </a:solidFill>
              </a:rPr>
              <a:t>standard </a:t>
            </a:r>
            <a:r>
              <a:rPr lang="pl-PL" sz="1200" b="1" dirty="0">
                <a:solidFill>
                  <a:schemeClr val="accent2"/>
                </a:solidFill>
              </a:rPr>
              <a:t>– http://www.iso.org/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/>
              <a:t>ISO / IEC 9075</a:t>
            </a:r>
            <a:r>
              <a:rPr lang="pl-PL" sz="1000" dirty="0"/>
              <a:t>.</a:t>
            </a:r>
            <a:endParaRPr lang="en-GB" sz="1000" dirty="0"/>
          </a:p>
        </p:txBody>
      </p:sp>
      <p:sp>
        <p:nvSpPr>
          <p:cNvPr id="15" name="Rechteck 14"/>
          <p:cNvSpPr/>
          <p:nvPr/>
        </p:nvSpPr>
        <p:spPr>
          <a:xfrm>
            <a:off x="3456000" y="1986915"/>
            <a:ext cx="2651498" cy="26314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Język Definicji Danych (DDL)</a:t>
            </a:r>
            <a:endParaRPr lang="en-GB" altLang="it-IT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CREATE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ROP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ALTER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TRUNCATE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Język </a:t>
            </a:r>
            <a:r>
              <a:rPr lang="pl-PL" sz="1200" b="1" dirty="0" smtClean="0">
                <a:solidFill>
                  <a:schemeClr val="accent2"/>
                </a:solidFill>
              </a:rPr>
              <a:t>Przetwarzania Danych </a:t>
            </a:r>
            <a:r>
              <a:rPr lang="pl-PL" sz="1200" b="1" dirty="0">
                <a:solidFill>
                  <a:schemeClr val="accent2"/>
                </a:solidFill>
              </a:rPr>
              <a:t>(</a:t>
            </a:r>
            <a:r>
              <a:rPr lang="pl-PL" sz="1200" b="1" dirty="0" smtClean="0">
                <a:solidFill>
                  <a:schemeClr val="accent2"/>
                </a:solidFill>
              </a:rPr>
              <a:t>DML)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SELECT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INSERT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ELETE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UPDATE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Typy Danych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NUMBERS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ATES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TIME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 smtClean="0"/>
              <a:t>CHARS</a:t>
            </a:r>
            <a:endParaRPr lang="en-GB" altLang="es-ES" sz="1000" dirty="0"/>
          </a:p>
        </p:txBody>
      </p:sp>
      <p:sp>
        <p:nvSpPr>
          <p:cNvPr id="16" name="Freihandform 15"/>
          <p:cNvSpPr/>
          <p:nvPr/>
        </p:nvSpPr>
        <p:spPr bwMode="gray">
          <a:xfrm>
            <a:off x="464930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608400" y="1300277"/>
            <a:ext cx="120520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cap="all" dirty="0" smtClean="0">
                <a:solidFill>
                  <a:schemeClr val="accent1"/>
                </a:solidFill>
              </a:rPr>
              <a:t>s</a:t>
            </a:r>
            <a:r>
              <a:rPr lang="pl-PL" sz="1400" cap="all" dirty="0">
                <a:solidFill>
                  <a:schemeClr val="accent1"/>
                </a:solidFill>
              </a:rPr>
              <a:t>QL + </a:t>
            </a:r>
            <a:r>
              <a:rPr lang="pl-PL" sz="1400" cap="all" dirty="0" smtClean="0">
                <a:solidFill>
                  <a:schemeClr val="accent1"/>
                </a:solidFill>
              </a:rPr>
              <a:t>RDBMS</a:t>
            </a:r>
            <a:endParaRPr lang="en-US" sz="1400" cap="all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 bwMode="gray">
          <a:xfrm>
            <a:off x="3274191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56000" y="1300277"/>
            <a:ext cx="12818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cap="all" dirty="0" smtClean="0">
                <a:solidFill>
                  <a:schemeClr val="accent1"/>
                </a:solidFill>
              </a:rPr>
              <a:t>s</a:t>
            </a:r>
            <a:r>
              <a:rPr lang="pl-PL" sz="1400" cap="all" dirty="0">
                <a:solidFill>
                  <a:schemeClr val="accent1"/>
                </a:solidFill>
              </a:rPr>
              <a:t>QL DDL / </a:t>
            </a:r>
            <a:r>
              <a:rPr lang="pl-PL" sz="1400" cap="all" dirty="0" smtClean="0">
                <a:solidFill>
                  <a:schemeClr val="accent1"/>
                </a:solidFill>
              </a:rPr>
              <a:t>DML</a:t>
            </a:r>
            <a:endParaRPr lang="en-US" sz="1400" cap="all" dirty="0">
              <a:solidFill>
                <a:schemeClr val="accent1"/>
              </a:solidFill>
            </a:endParaRPr>
          </a:p>
        </p:txBody>
      </p:sp>
      <p:sp>
        <p:nvSpPr>
          <p:cNvPr id="21" name="Freihandform 20"/>
          <p:cNvSpPr/>
          <p:nvPr/>
        </p:nvSpPr>
        <p:spPr bwMode="gray">
          <a:xfrm>
            <a:off x="6009367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6152400" y="1300277"/>
            <a:ext cx="100001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400" cap="all" dirty="0" smtClean="0">
                <a:solidFill>
                  <a:schemeClr val="accent1"/>
                </a:solidFill>
              </a:rPr>
              <a:t>SQL –</a:t>
            </a:r>
            <a:r>
              <a:rPr lang="pl-PL" sz="1400" cap="all" dirty="0">
                <a:solidFill>
                  <a:schemeClr val="accent1"/>
                </a:solidFill>
              </a:rPr>
              <a:t> </a:t>
            </a:r>
            <a:r>
              <a:rPr lang="pl-PL" sz="1400" cap="all" dirty="0" smtClean="0">
                <a:solidFill>
                  <a:schemeClr val="accent1"/>
                </a:solidFill>
              </a:rPr>
              <a:t>linki</a:t>
            </a:r>
            <a:endParaRPr lang="pl-PL" sz="1400" cap="all" dirty="0" smtClean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44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Demo </a:t>
            </a:r>
            <a:r>
              <a:rPr lang="pl-PL" dirty="0" smtClean="0"/>
              <a:t>4 </a:t>
            </a:r>
            <a:r>
              <a:rPr lang="pl-PL" dirty="0"/>
              <a:t>– </a:t>
            </a:r>
            <a:r>
              <a:rPr lang="pl-PL" dirty="0" smtClean="0"/>
              <a:t>Regresja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8. Biały kapelusz</a:t>
            </a:r>
            <a:endParaRPr lang="en-GB" sz="120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035" y="831273"/>
            <a:ext cx="3098803" cy="341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55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emo </a:t>
            </a:r>
            <a:r>
              <a:rPr lang="pl-PL" dirty="0" smtClean="0"/>
              <a:t>5 </a:t>
            </a:r>
            <a:r>
              <a:rPr lang="pl-PL" dirty="0"/>
              <a:t>– </a:t>
            </a:r>
            <a:r>
              <a:rPr lang="pl-PL" dirty="0" smtClean="0"/>
              <a:t>Stres testy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9. Przedmiot testów obciążeniowych i wydajnościowych –</a:t>
            </a:r>
            <a:r>
              <a:rPr lang="pl-PL" sz="1200" dirty="0"/>
              <a:t> </a:t>
            </a:r>
            <a:r>
              <a:rPr lang="pl-PL" sz="1200" dirty="0" smtClean="0"/>
              <a:t>ChemCalc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104" y="831191"/>
            <a:ext cx="6078666" cy="34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26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emo 6</a:t>
            </a:r>
            <a:r>
              <a:rPr lang="pl-PL" dirty="0" smtClean="0"/>
              <a:t> </a:t>
            </a:r>
            <a:r>
              <a:rPr lang="pl-PL" dirty="0"/>
              <a:t>– </a:t>
            </a:r>
            <a:r>
              <a:rPr lang="pl-PL" dirty="0" smtClean="0"/>
              <a:t>Gra on-line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10. Gra w szachy on-line</a:t>
            </a: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3697" y="880237"/>
            <a:ext cx="3791480" cy="337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97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emo </a:t>
            </a:r>
            <a:r>
              <a:rPr lang="pl-PL" dirty="0" smtClean="0"/>
              <a:t>7 </a:t>
            </a:r>
            <a:r>
              <a:rPr lang="pl-PL" dirty="0"/>
              <a:t>– </a:t>
            </a:r>
            <a:r>
              <a:rPr lang="pl-PL" dirty="0" smtClean="0"/>
              <a:t>Nagraj &gt; Odtwórz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11. </a:t>
            </a:r>
            <a:r>
              <a:rPr lang="pl-PL" sz="1200" dirty="0"/>
              <a:t>Apache JMeter™ 3.0 </a:t>
            </a:r>
            <a:r>
              <a:rPr lang="pl-PL" sz="1200" dirty="0" smtClean="0"/>
              <a:t>– </a:t>
            </a:r>
            <a:r>
              <a:rPr lang="pl-PL" sz="1200" dirty="0"/>
              <a:t>Nagraj &gt; Odtwórz</a:t>
            </a:r>
            <a:endParaRPr lang="pl-PL" sz="1200" dirty="0" smtClean="0"/>
          </a:p>
        </p:txBody>
      </p:sp>
      <p:grpSp>
        <p:nvGrpSpPr>
          <p:cNvPr id="8" name="Grupa 7"/>
          <p:cNvGrpSpPr/>
          <p:nvPr/>
        </p:nvGrpSpPr>
        <p:grpSpPr>
          <a:xfrm>
            <a:off x="1031404" y="1174393"/>
            <a:ext cx="7096066" cy="3076047"/>
            <a:chOff x="431798" y="1357387"/>
            <a:chExt cx="8318501" cy="3746403"/>
          </a:xfrm>
        </p:grpSpPr>
        <p:sp>
          <p:nvSpPr>
            <p:cNvPr id="9" name="Shape 150"/>
            <p:cNvSpPr/>
            <p:nvPr/>
          </p:nvSpPr>
          <p:spPr>
            <a:xfrm>
              <a:off x="431798" y="1357388"/>
              <a:ext cx="1825677" cy="3746402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  <p:sp>
          <p:nvSpPr>
            <p:cNvPr id="10" name="Shape 151"/>
            <p:cNvSpPr/>
            <p:nvPr/>
          </p:nvSpPr>
          <p:spPr>
            <a:xfrm>
              <a:off x="3201229" y="2992463"/>
              <a:ext cx="1925579" cy="476250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</p:spPr>
        </p:sp>
        <p:sp>
          <p:nvSpPr>
            <p:cNvPr id="11" name="Shape 152"/>
            <p:cNvSpPr/>
            <p:nvPr/>
          </p:nvSpPr>
          <p:spPr>
            <a:xfrm>
              <a:off x="6070563" y="1357387"/>
              <a:ext cx="2679736" cy="3746402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234455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GB" dirty="0"/>
              <a:t>PTaQ XXXIII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altLang="de-DE" sz="4500" dirty="0" smtClean="0"/>
              <a:t>Podsumowanie</a:t>
            </a:r>
            <a:endParaRPr lang="en-GB" sz="4500" dirty="0"/>
          </a:p>
        </p:txBody>
      </p:sp>
    </p:spTree>
    <p:extLst>
      <p:ext uri="{BB962C8B-B14F-4D97-AF65-F5344CB8AC3E}">
        <p14:creationId xmlns:p14="http://schemas.microsoft.com/office/powerpoint/2010/main" val="407562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podsumowani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XXXIII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pl-PL" sz="1600" dirty="0" smtClean="0"/>
              <a:t>Zalety </a:t>
            </a:r>
            <a:r>
              <a:rPr lang="pl-PL" sz="1600" dirty="0"/>
              <a:t>Apache JMeter™ </a:t>
            </a:r>
            <a:r>
              <a:rPr lang="pl-PL" sz="1600" dirty="0" smtClean="0"/>
              <a:t>3.0</a:t>
            </a:r>
            <a:r>
              <a:rPr lang="pl-PL" sz="1400" dirty="0" smtClean="0"/>
              <a:t>: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uniwersalność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przenoś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wielowątkowość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użytecz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łatwość </a:t>
            </a:r>
            <a:r>
              <a:rPr lang="pl-PL" sz="1400" dirty="0"/>
              <a:t>obsługi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łatwość nauki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aktu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konfigurow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modyfikow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automatyzacja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darmowość</a:t>
            </a:r>
            <a:endParaRPr lang="pl-PL" altLang="de-DE" sz="1400" dirty="0"/>
          </a:p>
        </p:txBody>
      </p:sp>
      <p:grpSp>
        <p:nvGrpSpPr>
          <p:cNvPr id="14" name="Grupa 13"/>
          <p:cNvGrpSpPr/>
          <p:nvPr/>
        </p:nvGrpSpPr>
        <p:grpSpPr>
          <a:xfrm>
            <a:off x="4805315" y="1058003"/>
            <a:ext cx="3876723" cy="3585949"/>
            <a:chOff x="4939339" y="2428251"/>
            <a:chExt cx="3876723" cy="3585949"/>
          </a:xfrm>
        </p:grpSpPr>
        <p:sp>
          <p:nvSpPr>
            <p:cNvPr id="15" name="Rechteck 6"/>
            <p:cNvSpPr>
              <a:spLocks noChangeArrowheads="1"/>
            </p:cNvSpPr>
            <p:nvPr/>
          </p:nvSpPr>
          <p:spPr bwMode="auto">
            <a:xfrm>
              <a:off x="4971184" y="5727156"/>
              <a:ext cx="3813032" cy="287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Clr>
                  <a:schemeClr val="accent1"/>
                </a:buClr>
                <a:buSzPct val="150000"/>
              </a:pPr>
              <a:r>
                <a:rPr lang="pl-PL" sz="1100" dirty="0" smtClean="0"/>
                <a:t>Rys. 12. </a:t>
              </a:r>
              <a:r>
                <a:rPr lang="pl-PL" sz="1100" dirty="0"/>
                <a:t>Apache JMeter™ 3.0 </a:t>
              </a:r>
              <a:r>
                <a:rPr lang="pl-PL" sz="1100" dirty="0" smtClean="0"/>
                <a:t>–</a:t>
              </a:r>
              <a:r>
                <a:rPr lang="pl-PL" sz="1100" dirty="0" smtClean="0"/>
                <a:t> funkcje i zalety</a:t>
              </a:r>
              <a:endParaRPr lang="pl-PL" sz="1100" dirty="0"/>
            </a:p>
          </p:txBody>
        </p:sp>
        <p:pic>
          <p:nvPicPr>
            <p:cNvPr id="16" name="Obraz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9339" y="2428251"/>
              <a:ext cx="3876723" cy="32349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7902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dniesienia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44504" y="1715720"/>
            <a:ext cx="7854108" cy="308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chemeClr val="accent1"/>
              </a:buClr>
              <a:buSzPct val="150000"/>
            </a:pPr>
            <a:r>
              <a:rPr lang="pl-PL" sz="1200" b="1" dirty="0" smtClean="0"/>
              <a:t>Linkografia:</a:t>
            </a: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1</a:t>
            </a:r>
            <a:r>
              <a:rPr lang="pl-PL" sz="1200" dirty="0"/>
              <a:t>]. </a:t>
            </a:r>
            <a:r>
              <a:rPr lang="pl-PL" sz="1200" dirty="0" smtClean="0"/>
              <a:t>Apache </a:t>
            </a:r>
            <a:r>
              <a:rPr lang="pl-PL" sz="1200" dirty="0"/>
              <a:t>JMeter™ </a:t>
            </a:r>
            <a:r>
              <a:rPr lang="pl-PL" sz="1200" dirty="0" smtClean="0"/>
              <a:t>3.0 – </a:t>
            </a:r>
            <a:r>
              <a:rPr lang="pl-PL" sz="1200" dirty="0"/>
              <a:t>http://jmeter.apache.org/index.html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</a:t>
            </a:r>
            <a:r>
              <a:rPr lang="pl-PL" sz="1200" dirty="0"/>
              <a:t>2]. </a:t>
            </a:r>
            <a:r>
              <a:rPr lang="pl-PL" sz="1200" dirty="0" smtClean="0"/>
              <a:t>Apache </a:t>
            </a:r>
            <a:r>
              <a:rPr lang="pl-PL" sz="1200" dirty="0"/>
              <a:t>JMeter™ 3.0 </a:t>
            </a:r>
            <a:r>
              <a:rPr lang="pl-PL" sz="1200" dirty="0" smtClean="0"/>
              <a:t>Wiki </a:t>
            </a:r>
            <a:r>
              <a:rPr lang="pl-PL" sz="1200" dirty="0"/>
              <a:t>– http://wiki.apache.org/jmeter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</a:t>
            </a:r>
            <a:r>
              <a:rPr lang="pl-PL" sz="1200" dirty="0"/>
              <a:t>3]. Custom Plugins for Apache JMeter™ </a:t>
            </a:r>
            <a:r>
              <a:rPr lang="pl-PL" sz="1200" dirty="0" smtClean="0"/>
              <a:t>3.0 </a:t>
            </a:r>
            <a:r>
              <a:rPr lang="pl-PL" sz="1200" dirty="0"/>
              <a:t>– http://jmeter-plugins.org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4]. </a:t>
            </a:r>
            <a:r>
              <a:rPr lang="pl-PL" sz="1200" dirty="0"/>
              <a:t>JSONpath – http://goessner.net/articles/JsonPath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5]. GitHub </a:t>
            </a:r>
            <a:r>
              <a:rPr lang="pl-PL" sz="1200" dirty="0"/>
              <a:t>API – https://developer.github.com/v3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6]. </a:t>
            </a:r>
            <a:r>
              <a:rPr lang="pl-PL" sz="1200" dirty="0"/>
              <a:t>Firebase RESTful API – https://firebase.google.com/docs/reference/rest/database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/>
              <a:t> </a:t>
            </a:r>
            <a:r>
              <a:rPr lang="pl-PL" sz="1200" dirty="0" smtClean="0"/>
              <a:t> [7]. </a:t>
            </a:r>
            <a:r>
              <a:rPr lang="en-US" sz="1200" dirty="0"/>
              <a:t>Google Maps API - https://developers.google.com/maps/documentation/distance-matrix</a:t>
            </a:r>
            <a:r>
              <a:rPr lang="en-US" sz="1200" dirty="0" smtClean="0"/>
              <a:t>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8]. </a:t>
            </a:r>
            <a:r>
              <a:rPr lang="pl-PL" sz="1200" dirty="0"/>
              <a:t>SQLite JDBC </a:t>
            </a:r>
            <a:r>
              <a:rPr lang="pl-PL" sz="1200" dirty="0" smtClean="0"/>
              <a:t>– </a:t>
            </a:r>
            <a:r>
              <a:rPr lang="pl-PL" sz="1200" dirty="0"/>
              <a:t>https://</a:t>
            </a:r>
            <a:r>
              <a:rPr lang="pl-PL" sz="1200" dirty="0" smtClean="0"/>
              <a:t>github.com/djangofan/jmeter-jdbc-sqllite-example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9]. </a:t>
            </a:r>
            <a:r>
              <a:rPr lang="pl-PL" sz="1200" dirty="0"/>
              <a:t>Node.js – https://nodejs.org/en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0]. BlazeMeter – https://www.blazemeter.com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1]. </a:t>
            </a:r>
            <a:r>
              <a:rPr lang="en-US" sz="1200" dirty="0"/>
              <a:t>Chess RESTful API - https://github.com/ornicar/lila#http-api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2]. </a:t>
            </a:r>
            <a:r>
              <a:rPr lang="pl-PL" sz="1200" dirty="0"/>
              <a:t>GNU Chess Engine </a:t>
            </a:r>
            <a:r>
              <a:rPr lang="pl-PL" sz="1200" dirty="0" smtClean="0"/>
              <a:t>– </a:t>
            </a:r>
            <a:r>
              <a:rPr lang="pl-PL" sz="1200" dirty="0"/>
              <a:t>http://www.net-chess.com/gnu</a:t>
            </a:r>
            <a:r>
              <a:rPr lang="pl-PL" sz="1200" dirty="0" smtClean="0"/>
              <a:t>/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233148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ytania i odpowiedzi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1975" y="874932"/>
            <a:ext cx="5494924" cy="36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45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/>
            <a:r>
              <a:rPr lang="pl-PL" altLang="de-DE" dirty="0"/>
              <a:t>Apache JMeter™ 3.0 w </a:t>
            </a:r>
            <a:r>
              <a:rPr lang="pl-PL" altLang="de-DE" dirty="0" smtClean="0"/>
              <a:t>teorii</a:t>
            </a:r>
            <a:endParaRPr lang="pl-PL" altLang="de-DE" dirty="0"/>
          </a:p>
          <a:p>
            <a:pPr marL="457200" indent="-457200"/>
            <a:r>
              <a:rPr lang="pl-PL" altLang="de-DE" dirty="0"/>
              <a:t>Apache JMeter™ 3.0 w </a:t>
            </a:r>
            <a:r>
              <a:rPr lang="pl-PL" altLang="de-DE" dirty="0" smtClean="0"/>
              <a:t>praktyce</a:t>
            </a:r>
            <a:endParaRPr lang="en-US" altLang="de-DE" dirty="0"/>
          </a:p>
          <a:p>
            <a:pPr marL="457200" indent="-457200"/>
            <a:r>
              <a:rPr lang="pl-PL" altLang="de-DE" dirty="0" smtClean="0"/>
              <a:t>Podsumowanie</a:t>
            </a:r>
            <a:endParaRPr lang="pl-PL" altLang="de-DE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GB" dirty="0"/>
              <a:t>PTaQ XXXIII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pl-PL" altLang="de-DE" sz="13800" dirty="0"/>
              <a:t>Dziękuję za </a:t>
            </a:r>
            <a:r>
              <a:rPr lang="pl-PL" altLang="de-DE" sz="13800" dirty="0" smtClean="0"/>
              <a:t>uwagę</a:t>
            </a:r>
          </a:p>
          <a:p>
            <a:pPr marL="0" indent="0">
              <a:buNone/>
            </a:pPr>
            <a:endParaRPr lang="pl-PL" altLang="de-DE" sz="13800" dirty="0"/>
          </a:p>
          <a:p>
            <a:pPr marL="0" indent="0">
              <a:buNone/>
            </a:pPr>
            <a:r>
              <a:rPr lang="en-GB" sz="4400" dirty="0"/>
              <a:t>GFT Poland Sp. </a:t>
            </a:r>
            <a:r>
              <a:rPr lang="en-GB" sz="4400" dirty="0"/>
              <a:t>z.o.o.</a:t>
            </a:r>
          </a:p>
          <a:p>
            <a:pPr marL="0" indent="0">
              <a:buNone/>
            </a:pPr>
            <a:r>
              <a:rPr lang="de-DE" sz="4400" dirty="0"/>
              <a:t>Adrian Bala</a:t>
            </a:r>
          </a:p>
          <a:p>
            <a:pPr marL="0" indent="0">
              <a:buNone/>
            </a:pPr>
            <a:r>
              <a:rPr lang="de-DE" sz="4400" dirty="0"/>
              <a:t>Senior Test Analyst</a:t>
            </a:r>
          </a:p>
          <a:p>
            <a:endParaRPr lang="de-DE" sz="4400" dirty="0"/>
          </a:p>
          <a:p>
            <a:pPr marL="0" indent="0">
              <a:buNone/>
            </a:pPr>
            <a:r>
              <a:rPr lang="de-DE" sz="4400" dirty="0"/>
              <a:t>Okraglak, Mielzynskiego 14</a:t>
            </a:r>
          </a:p>
          <a:p>
            <a:pPr marL="0" indent="0">
              <a:buNone/>
            </a:pPr>
            <a:r>
              <a:rPr lang="de-DE" sz="4400" dirty="0"/>
              <a:t>61-725 Poznan, Polska</a:t>
            </a:r>
          </a:p>
          <a:p>
            <a:endParaRPr lang="de-DE" sz="4400" dirty="0"/>
          </a:p>
          <a:p>
            <a:pPr marL="0" indent="0">
              <a:buNone/>
            </a:pPr>
            <a:r>
              <a:rPr lang="de-DE" sz="4400" dirty="0"/>
              <a:t>T +48 61 880 09 01</a:t>
            </a:r>
          </a:p>
          <a:p>
            <a:pPr marL="0" indent="0">
              <a:buNone/>
            </a:pPr>
            <a:r>
              <a:rPr lang="de-DE" sz="4400" dirty="0"/>
              <a:t>adrian.bala@gft.com</a:t>
            </a:r>
          </a:p>
          <a:p>
            <a:pPr marL="0" indent="0">
              <a:buNone/>
            </a:pPr>
            <a:endParaRPr lang="en-GB" sz="4500" dirty="0"/>
          </a:p>
        </p:txBody>
      </p:sp>
    </p:spTree>
    <p:extLst>
      <p:ext uri="{BB962C8B-B14F-4D97-AF65-F5344CB8AC3E}">
        <p14:creationId xmlns:p14="http://schemas.microsoft.com/office/powerpoint/2010/main" val="2025093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fleksja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1. Przykładowe narzędzia DevOps (według XebiaLabs)</a:t>
            </a:r>
            <a:endParaRPr lang="en-GB" sz="1200" dirty="0"/>
          </a:p>
        </p:txBody>
      </p:sp>
      <p:pic>
        <p:nvPicPr>
          <p:cNvPr id="12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246" y="853320"/>
            <a:ext cx="6000676" cy="339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40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ache JMeter™ 3.0 w </a:t>
            </a:r>
            <a:r>
              <a:rPr lang="pl-PL" dirty="0" smtClean="0"/>
              <a:t>teorii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44504" y="1715720"/>
            <a:ext cx="7854108" cy="308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chemeClr val="accent1"/>
              </a:buClr>
              <a:buSzPct val="150000"/>
            </a:pPr>
            <a:r>
              <a:rPr lang="pl-PL" sz="1200" b="1" dirty="0"/>
              <a:t>Apache JMeter™ </a:t>
            </a:r>
            <a:r>
              <a:rPr lang="pl-PL" sz="1200" b="1" dirty="0" smtClean="0"/>
              <a:t>3.0</a:t>
            </a:r>
            <a:r>
              <a:rPr lang="pl-PL" sz="1200" dirty="0" smtClean="0"/>
              <a:t> </a:t>
            </a:r>
            <a:r>
              <a:rPr lang="pl-PL" sz="1200" dirty="0"/>
              <a:t>to otwarte oprogramowanie, </a:t>
            </a:r>
            <a:r>
              <a:rPr lang="pl-PL" sz="1200" dirty="0" smtClean="0"/>
              <a:t>zmigrowane do Java w wersji 7 </a:t>
            </a:r>
            <a:r>
              <a:rPr lang="pl-PL" sz="1200" dirty="0"/>
              <a:t>i dedykowane do wykonywania testów obciążeniowych, wydajnościowych oraz funkcjonalnych</a:t>
            </a:r>
            <a:r>
              <a:rPr lang="pl-PL" sz="1200" dirty="0" smtClean="0"/>
              <a:t>.</a:t>
            </a: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/>
              <a:t>Rys. </a:t>
            </a:r>
            <a:r>
              <a:rPr lang="pl-PL" sz="1200" dirty="0" smtClean="0"/>
              <a:t>2</a:t>
            </a:r>
            <a:r>
              <a:rPr lang="pl-PL" sz="1200" dirty="0"/>
              <a:t>. </a:t>
            </a:r>
            <a:r>
              <a:rPr lang="pl-PL" sz="1200" dirty="0" smtClean="0"/>
              <a:t>Apache </a:t>
            </a:r>
            <a:r>
              <a:rPr lang="pl-PL" sz="1200" dirty="0"/>
              <a:t>JMeter™ </a:t>
            </a:r>
            <a:r>
              <a:rPr lang="pl-PL" sz="1200" dirty="0" smtClean="0"/>
              <a:t>3.0 </a:t>
            </a:r>
            <a:r>
              <a:rPr lang="pl-PL" sz="1200" dirty="0"/>
              <a:t>(według </a:t>
            </a:r>
            <a:r>
              <a:rPr lang="pl-PL" sz="1200" dirty="0" smtClean="0"/>
              <a:t>Felixa Schumachera)</a:t>
            </a:r>
            <a:endParaRPr lang="en-GB" sz="1200" dirty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8328" y="2690201"/>
            <a:ext cx="3342217" cy="113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8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Framework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3</a:t>
            </a:r>
            <a:r>
              <a:rPr lang="pl-PL" sz="1200" dirty="0"/>
              <a:t>. Apache JMeter™ </a:t>
            </a:r>
            <a:r>
              <a:rPr lang="pl-PL" sz="1200" dirty="0" smtClean="0"/>
              <a:t>3.0 jako framework (według Adriana Bali)</a:t>
            </a:r>
            <a:endParaRPr lang="en-GB" sz="1200" dirty="0"/>
          </a:p>
        </p:txBody>
      </p:sp>
      <p:grpSp>
        <p:nvGrpSpPr>
          <p:cNvPr id="4" name="Grupa 3"/>
          <p:cNvGrpSpPr/>
          <p:nvPr/>
        </p:nvGrpSpPr>
        <p:grpSpPr>
          <a:xfrm>
            <a:off x="2250596" y="916691"/>
            <a:ext cx="4657681" cy="3299566"/>
            <a:chOff x="2196046" y="878281"/>
            <a:chExt cx="4766782" cy="3294477"/>
          </a:xfrm>
        </p:grpSpPr>
        <p:grpSp>
          <p:nvGrpSpPr>
            <p:cNvPr id="3" name="Grupa 2"/>
            <p:cNvGrpSpPr/>
            <p:nvPr/>
          </p:nvGrpSpPr>
          <p:grpSpPr>
            <a:xfrm>
              <a:off x="2196046" y="878281"/>
              <a:ext cx="4766782" cy="3294477"/>
              <a:chOff x="778912" y="954254"/>
              <a:chExt cx="7738317" cy="5374674"/>
            </a:xfrm>
          </p:grpSpPr>
          <p:sp>
            <p:nvSpPr>
              <p:cNvPr id="7" name="Shape 97"/>
              <p:cNvSpPr/>
              <p:nvPr/>
            </p:nvSpPr>
            <p:spPr>
              <a:xfrm>
                <a:off x="6733926" y="954254"/>
                <a:ext cx="1783303" cy="164564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</p:sp>
          <p:sp>
            <p:nvSpPr>
              <p:cNvPr id="8" name="Shape 98"/>
              <p:cNvSpPr/>
              <p:nvPr/>
            </p:nvSpPr>
            <p:spPr>
              <a:xfrm>
                <a:off x="7061165" y="2517854"/>
                <a:ext cx="1128824" cy="133108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</p:sp>
          <p:sp>
            <p:nvSpPr>
              <p:cNvPr id="9" name="Shape 99"/>
              <p:cNvSpPr/>
              <p:nvPr/>
            </p:nvSpPr>
            <p:spPr>
              <a:xfrm rot="960164">
                <a:off x="778912" y="4949421"/>
                <a:ext cx="1796756" cy="137950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</p:sp>
          <p:cxnSp>
            <p:nvCxnSpPr>
              <p:cNvPr id="10" name="Łącznik prosty 9"/>
              <p:cNvCxnSpPr/>
              <p:nvPr/>
            </p:nvCxnSpPr>
            <p:spPr>
              <a:xfrm flipV="1">
                <a:off x="2389909" y="2471024"/>
                <a:ext cx="4432439" cy="2578958"/>
              </a:xfrm>
              <a:prstGeom prst="line">
                <a:avLst/>
              </a:prstGeom>
              <a:ln w="28575"/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Pięciokąt 10"/>
              <p:cNvSpPr/>
              <p:nvPr/>
            </p:nvSpPr>
            <p:spPr>
              <a:xfrm rot="14317577">
                <a:off x="4760803" y="3084681"/>
                <a:ext cx="893544" cy="404447"/>
              </a:xfrm>
              <a:prstGeom prst="homePlate">
                <a:avLst/>
              </a:prstGeom>
              <a:effectLst>
                <a:innerShdw blurRad="114300">
                  <a:prstClr val="black"/>
                </a:innerShdw>
              </a:effec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pic>
            <p:nvPicPr>
              <p:cNvPr id="13" name="Obraz 12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0574" y="4607169"/>
                <a:ext cx="1514475" cy="657225"/>
              </a:xfrm>
              <a:prstGeom prst="rect">
                <a:avLst/>
              </a:prstGeom>
            </p:spPr>
          </p:pic>
        </p:grpSp>
        <p:pic>
          <p:nvPicPr>
            <p:cNvPr id="14" name="Obraz 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08698">
              <a:off x="3411215" y="1379167"/>
              <a:ext cx="2211956" cy="748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046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podstaw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XXXIII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l-PL" sz="1600" dirty="0"/>
              <a:t>Test Plan</a:t>
            </a:r>
          </a:p>
          <a:p>
            <a:pPr lvl="1"/>
            <a:r>
              <a:rPr lang="pl-PL" sz="1400" dirty="0" smtClean="0"/>
              <a:t>grupy wątków </a:t>
            </a:r>
            <a:endParaRPr lang="pl-PL" sz="1400" dirty="0" smtClean="0"/>
          </a:p>
          <a:p>
            <a:pPr lvl="1"/>
            <a:r>
              <a:rPr lang="pl-PL" sz="1400" dirty="0" smtClean="0"/>
              <a:t>zmienne – wbudowane, definiowane</a:t>
            </a:r>
          </a:p>
          <a:p>
            <a:pPr lvl="1"/>
            <a:r>
              <a:rPr lang="en-US" sz="1400" dirty="0"/>
              <a:t>menedżery – cookie, header</a:t>
            </a:r>
          </a:p>
          <a:p>
            <a:pPr lvl="1"/>
            <a:r>
              <a:rPr lang="en-US" sz="1400" dirty="0"/>
              <a:t>timery – stałe, losowe</a:t>
            </a:r>
          </a:p>
          <a:p>
            <a:pPr lvl="1"/>
            <a:r>
              <a:rPr lang="en-US" sz="1400" dirty="0"/>
              <a:t>instrukcje warunkowe – IF, WHILE</a:t>
            </a:r>
          </a:p>
          <a:p>
            <a:pPr lvl="1"/>
            <a:r>
              <a:rPr lang="en-US" sz="1400" dirty="0"/>
              <a:t>pętle – LOOP, </a:t>
            </a:r>
            <a:r>
              <a:rPr lang="en-US" sz="1400" dirty="0" smtClean="0"/>
              <a:t>FOREACH</a:t>
            </a:r>
            <a:endParaRPr lang="pl-PL" sz="1400" dirty="0" smtClean="0"/>
          </a:p>
          <a:p>
            <a:pPr lvl="1"/>
            <a:r>
              <a:rPr lang="pl-PL" sz="1400" dirty="0"/>
              <a:t>słuchacze – drzewiaste, sumaryczne</a:t>
            </a:r>
          </a:p>
          <a:p>
            <a:pPr lvl="1"/>
            <a:r>
              <a:rPr lang="pl-PL" sz="1400" dirty="0"/>
              <a:t>zapytania – HTTP(S), JDBC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400" dirty="0"/>
              <a:t>asercje – odpowiedzi, rozmiar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400" dirty="0"/>
              <a:t>ekstraktory – wyrażeń regularnych</a:t>
            </a:r>
          </a:p>
          <a:p>
            <a:pPr lvl="1"/>
            <a:r>
              <a:rPr lang="pl-PL" sz="1400" dirty="0" smtClean="0"/>
              <a:t>(…)</a:t>
            </a:r>
            <a:endParaRPr lang="pl-PL" altLang="de-DE" sz="1400" dirty="0"/>
          </a:p>
        </p:txBody>
      </p:sp>
      <p:grpSp>
        <p:nvGrpSpPr>
          <p:cNvPr id="8" name="Grupa 7"/>
          <p:cNvGrpSpPr/>
          <p:nvPr/>
        </p:nvGrpSpPr>
        <p:grpSpPr>
          <a:xfrm>
            <a:off x="4821382" y="1058003"/>
            <a:ext cx="3860656" cy="3255503"/>
            <a:chOff x="4935682" y="2464856"/>
            <a:chExt cx="3813032" cy="3161776"/>
          </a:xfrm>
        </p:grpSpPr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5682" y="2464856"/>
              <a:ext cx="3813032" cy="2849511"/>
            </a:xfrm>
            <a:prstGeom prst="rect">
              <a:avLst/>
            </a:prstGeom>
          </p:spPr>
        </p:pic>
        <p:sp>
          <p:nvSpPr>
            <p:cNvPr id="10" name="Rechteck 6"/>
            <p:cNvSpPr>
              <a:spLocks noChangeArrowheads="1"/>
            </p:cNvSpPr>
            <p:nvPr/>
          </p:nvSpPr>
          <p:spPr bwMode="auto">
            <a:xfrm>
              <a:off x="4935682" y="5339588"/>
              <a:ext cx="3813032" cy="287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Clr>
                  <a:schemeClr val="accent1"/>
                </a:buClr>
                <a:buSzPct val="150000"/>
              </a:pPr>
              <a:r>
                <a:rPr lang="pl-PL" sz="1100" dirty="0" smtClean="0"/>
                <a:t>Rys. </a:t>
              </a:r>
              <a:r>
                <a:rPr lang="pl-PL" sz="1100" dirty="0" smtClean="0"/>
                <a:t>4</a:t>
              </a:r>
              <a:r>
                <a:rPr lang="pl-PL" sz="1100" dirty="0"/>
                <a:t>. Apache JMeter™ </a:t>
              </a:r>
              <a:r>
                <a:rPr lang="pl-PL" sz="1100" dirty="0" smtClean="0"/>
                <a:t>3.0 </a:t>
              </a:r>
              <a:r>
                <a:rPr lang="pl-PL" sz="1100" dirty="0" smtClean="0"/>
                <a:t>– </a:t>
              </a:r>
              <a:r>
                <a:rPr lang="pl-PL" sz="1100" dirty="0" smtClean="0"/>
                <a:t>struktura testplanu</a:t>
              </a:r>
              <a:endParaRPr lang="pl-PL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7388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869" y="967604"/>
            <a:ext cx="4326169" cy="303402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nowośc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XXXIII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l-PL" sz="1600" dirty="0"/>
              <a:t>Apache JMeter™ 3.0</a:t>
            </a:r>
          </a:p>
          <a:p>
            <a:pPr lvl="1"/>
            <a:r>
              <a:rPr lang="pl-PL" sz="1400" dirty="0" smtClean="0"/>
              <a:t>nowe GUI </a:t>
            </a:r>
            <a:endParaRPr lang="pl-PL" sz="1400" dirty="0" smtClean="0"/>
          </a:p>
          <a:p>
            <a:pPr lvl="1"/>
            <a:r>
              <a:rPr lang="pl-PL" sz="1400" dirty="0" smtClean="0"/>
              <a:t>przeszukiwanie</a:t>
            </a:r>
          </a:p>
          <a:p>
            <a:pPr lvl="1"/>
            <a:r>
              <a:rPr lang="pl-PL" sz="1400" dirty="0" smtClean="0"/>
              <a:t>JSONpath</a:t>
            </a:r>
            <a:endParaRPr lang="en-US" sz="1400" dirty="0"/>
          </a:p>
          <a:p>
            <a:pPr lvl="1"/>
            <a:r>
              <a:rPr lang="pl-PL" sz="1400" dirty="0" smtClean="0"/>
              <a:t>jednowątkowa walidacja</a:t>
            </a:r>
            <a:endParaRPr lang="en-US" sz="1400" dirty="0"/>
          </a:p>
          <a:p>
            <a:pPr lvl="1"/>
            <a:r>
              <a:rPr lang="pl-PL" sz="1400" dirty="0" smtClean="0"/>
              <a:t>opcja IP spoofing</a:t>
            </a:r>
          </a:p>
          <a:p>
            <a:pPr lvl="1"/>
            <a:r>
              <a:rPr lang="pl-PL" sz="1400" dirty="0"/>
              <a:t>p</a:t>
            </a:r>
            <a:r>
              <a:rPr lang="pl-PL" sz="1400" dirty="0" smtClean="0"/>
              <a:t>oprawa raportowania</a:t>
            </a:r>
            <a:endParaRPr lang="pl-PL" sz="1400" dirty="0"/>
          </a:p>
          <a:p>
            <a:pPr lvl="1"/>
            <a:r>
              <a:rPr lang="pl-PL" sz="1400" dirty="0"/>
              <a:t>Apache Groovy dostępny w JSR223</a:t>
            </a:r>
            <a:endParaRPr lang="pl-PL" sz="1400" dirty="0" smtClean="0"/>
          </a:p>
          <a:p>
            <a:pPr lvl="1"/>
            <a:r>
              <a:rPr lang="pl-PL" sz="1400" dirty="0"/>
              <a:t>Oracle Nashorn zamiast Mozilla Rhino</a:t>
            </a:r>
            <a:endParaRPr lang="en-US" sz="1400" dirty="0"/>
          </a:p>
          <a:p>
            <a:pPr lvl="1"/>
            <a:r>
              <a:rPr lang="en-US" sz="1400" dirty="0" smtClean="0"/>
              <a:t>Apache </a:t>
            </a:r>
            <a:r>
              <a:rPr lang="en-US" sz="1400" dirty="0"/>
              <a:t>Commons DBCP2 zamiast Excalibur </a:t>
            </a:r>
            <a:r>
              <a:rPr lang="en-US" sz="1400" dirty="0" smtClean="0"/>
              <a:t>Pool</a:t>
            </a:r>
            <a:endParaRPr lang="pl-PL" sz="1400" dirty="0"/>
          </a:p>
          <a:p>
            <a:pPr lvl="1"/>
            <a:r>
              <a:rPr lang="pl-PL" sz="1400" dirty="0" smtClean="0"/>
              <a:t>skróty klawiaturowe: Ctr ^ 0, Ctr ^ 1, …, Ctr ^ 9</a:t>
            </a:r>
          </a:p>
          <a:p>
            <a:pPr lvl="1"/>
            <a:r>
              <a:rPr lang="pl-PL" sz="1400" dirty="0" smtClean="0"/>
              <a:t>(…)</a:t>
            </a:r>
            <a:endParaRPr lang="pl-PL" altLang="de-DE" sz="1400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821382" y="4017952"/>
            <a:ext cx="3860656" cy="29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accent1"/>
              </a:buClr>
              <a:buSzPct val="150000"/>
            </a:pPr>
            <a:r>
              <a:rPr lang="pl-PL" sz="1100" dirty="0" smtClean="0"/>
              <a:t>Rys. </a:t>
            </a:r>
            <a:r>
              <a:rPr lang="pl-PL" sz="1100" dirty="0" smtClean="0"/>
              <a:t>5</a:t>
            </a:r>
            <a:r>
              <a:rPr lang="pl-PL" sz="1100" dirty="0" smtClean="0"/>
              <a:t>. </a:t>
            </a:r>
            <a:r>
              <a:rPr lang="pl-PL" sz="1100" dirty="0"/>
              <a:t>Apache JMeter™ </a:t>
            </a:r>
            <a:r>
              <a:rPr lang="pl-PL" sz="1100" dirty="0" smtClean="0"/>
              <a:t>3.0 </a:t>
            </a:r>
            <a:r>
              <a:rPr lang="pl-PL" sz="1100" dirty="0" smtClean="0"/>
              <a:t>– nowe GUI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624919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GB" dirty="0"/>
              <a:t>PTaQ XXXIII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altLang="de-DE" sz="4500" dirty="0" smtClean="0"/>
              <a:t>Apache </a:t>
            </a:r>
            <a:r>
              <a:rPr lang="pl-PL" altLang="de-DE" sz="4500" dirty="0"/>
              <a:t>JMeter™ </a:t>
            </a:r>
            <a:r>
              <a:rPr lang="pl-PL" altLang="de-DE" sz="4500" dirty="0" smtClean="0"/>
              <a:t>3.0</a:t>
            </a:r>
            <a:br>
              <a:rPr lang="pl-PL" altLang="de-DE" sz="4500" dirty="0" smtClean="0"/>
            </a:br>
            <a:r>
              <a:rPr lang="pl-PL" altLang="de-DE" sz="4500" dirty="0" smtClean="0"/>
              <a:t>w praktyce</a:t>
            </a:r>
            <a:endParaRPr lang="en-GB" sz="4500" dirty="0"/>
          </a:p>
        </p:txBody>
      </p:sp>
    </p:spTree>
    <p:extLst>
      <p:ext uri="{BB962C8B-B14F-4D97-AF65-F5344CB8AC3E}">
        <p14:creationId xmlns:p14="http://schemas.microsoft.com/office/powerpoint/2010/main" val="79581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Demo 1 – Hello </a:t>
            </a:r>
            <a:r>
              <a:rPr lang="pl-PL" dirty="0" smtClean="0"/>
              <a:t>PTaQ World!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Q </a:t>
            </a:r>
            <a:r>
              <a:rPr lang="de-DE" dirty="0" smtClean="0"/>
              <a:t>XXXIII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6. Witaj PTaQ</a:t>
            </a:r>
            <a:endParaRPr lang="en-GB" sz="120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10" y="922211"/>
            <a:ext cx="5916853" cy="332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966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FT_Master-Template_15100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GFT">
    <a:dk1>
      <a:srgbClr val="213E7F"/>
    </a:dk1>
    <a:lt1>
      <a:sysClr val="window" lastClr="FFFFFF"/>
    </a:lt1>
    <a:dk2>
      <a:srgbClr val="8C8C8C"/>
    </a:dk2>
    <a:lt2>
      <a:srgbClr val="EBEBEB"/>
    </a:lt2>
    <a:accent1>
      <a:srgbClr val="213E7F"/>
    </a:accent1>
    <a:accent2>
      <a:srgbClr val="0097D9"/>
    </a:accent2>
    <a:accent3>
      <a:srgbClr val="0098B0"/>
    </a:accent3>
    <a:accent4>
      <a:srgbClr val="AAAAAA"/>
    </a:accent4>
    <a:accent5>
      <a:srgbClr val="C8C8C8"/>
    </a:accent5>
    <a:accent6>
      <a:srgbClr val="DCDCDC"/>
    </a:accent6>
    <a:hlink>
      <a:srgbClr val="213E7F"/>
    </a:hlink>
    <a:folHlink>
      <a:srgbClr val="213E7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131D59A399F34DBFB77ABDE417A7CD" ma:contentTypeVersion="0" ma:contentTypeDescription="Create a new document." ma:contentTypeScope="" ma:versionID="531f79d2260cb6fc4b2192140f5c8bf1">
  <xsd:schema xmlns:xsd="http://www.w3.org/2001/XMLSchema" xmlns:xs="http://www.w3.org/2001/XMLSchema" xmlns:p="http://schemas.microsoft.com/office/2006/metadata/properties" xmlns:ns2="727178e8-9586-4f49-8e7b-77af9c2fb085" targetNamespace="http://schemas.microsoft.com/office/2006/metadata/properties" ma:root="true" ma:fieldsID="8bfb4640eb2087305470d72accd5dedf" ns2:_=""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81-97</_dlc_DocId>
    <_dlc_DocIdUrl xmlns="727178e8-9586-4f49-8e7b-77af9c2fb085">
      <Url>https://share.gft.com/sites/Corporate-Marketing/mkt/_layouts/DocIdRedir.aspx?ID=CVD5QAC74SYH-81-97</Url>
      <Description>CVD5QAC74SYH-81-97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F9951AB-356A-4354-ABCD-16BD6D4FED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BFE7C2-9330-4F9F-8423-22F42EEF33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AA8E653-D61F-4B07-9754-46E8D120F1F4}">
  <ds:schemaRefs>
    <ds:schemaRef ds:uri="http://schemas.openxmlformats.org/package/2006/metadata/core-properties"/>
    <ds:schemaRef ds:uri="727178e8-9586-4f49-8e7b-77af9c2fb085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terms/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5A4CC0B7-09AD-4264-AF4C-3600CDDC7EB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</TotalTime>
  <Words>708</Words>
  <Application>Microsoft Office PowerPoint</Application>
  <PresentationFormat>Pokaz na ekranie (16:9)</PresentationFormat>
  <Paragraphs>177</Paragraphs>
  <Slides>20</Slides>
  <Notes>14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0</vt:i4>
      </vt:variant>
    </vt:vector>
  </HeadingPairs>
  <TitlesOfParts>
    <vt:vector size="26" baseType="lpstr">
      <vt:lpstr>Arial</vt:lpstr>
      <vt:lpstr>MS PGothic</vt:lpstr>
      <vt:lpstr>Wingdings</vt:lpstr>
      <vt:lpstr>Calibri</vt:lpstr>
      <vt:lpstr>GFT_Master-Template_151009</vt:lpstr>
      <vt:lpstr>think-cell Folie</vt:lpstr>
      <vt:lpstr>Apache JMeter™ 3.0 w praktyce</vt:lpstr>
      <vt:lpstr>Prezentacja programu PowerPoint</vt:lpstr>
      <vt:lpstr>Refleksja</vt:lpstr>
      <vt:lpstr>Apache JMeter™ 3.0 w teorii</vt:lpstr>
      <vt:lpstr>Framework</vt:lpstr>
      <vt:lpstr>Apache JMeter™ 3.0 – podstawy</vt:lpstr>
      <vt:lpstr>Apache JMeter™ 3.0 – nowości</vt:lpstr>
      <vt:lpstr>Prezentacja programu PowerPoint</vt:lpstr>
      <vt:lpstr>Demo 1 – Hello PTaQ World!</vt:lpstr>
      <vt:lpstr>Demo 2 – RESTful API</vt:lpstr>
      <vt:lpstr>Demo 3 – DBMS</vt:lpstr>
      <vt:lpstr>Demo 4 – Regresja</vt:lpstr>
      <vt:lpstr>Demo 5 – Stres testy</vt:lpstr>
      <vt:lpstr>Demo 6 – Gra on-line</vt:lpstr>
      <vt:lpstr>Demo 7 – Nagraj &gt; Odtwórz</vt:lpstr>
      <vt:lpstr>Prezentacja programu PowerPoint</vt:lpstr>
      <vt:lpstr>Apache JMeter™ 3.0 – podsumowanie</vt:lpstr>
      <vt:lpstr>Odniesienia</vt:lpstr>
      <vt:lpstr>Pytania i odpowiedzi</vt:lpstr>
      <vt:lpstr>Prezentacja programu PowerPoint</vt:lpstr>
    </vt:vector>
  </TitlesOfParts>
  <Company>GFT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 for digital transformation</dc:title>
  <dc:creator>GFT</dc:creator>
  <cp:lastModifiedBy>Adrian Bala</cp:lastModifiedBy>
  <cp:revision>173</cp:revision>
  <cp:lastPrinted>2015-12-14T14:13:14Z</cp:lastPrinted>
  <dcterms:created xsi:type="dcterms:W3CDTF">2015-10-14T12:33:52Z</dcterms:created>
  <dcterms:modified xsi:type="dcterms:W3CDTF">2016-09-07T23:0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92378f2a-4e8b-4c01-bc57-6d37445ccdef</vt:lpwstr>
  </property>
  <property fmtid="{D5CDD505-2E9C-101B-9397-08002B2CF9AE}" pid="3" name="ContentTypeId">
    <vt:lpwstr>0x01010003131D59A399F34DBFB77ABDE417A7CD</vt:lpwstr>
  </property>
</Properties>
</file>